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E0DAF3-665B-4678-9BFE-D25F742053DD}" v="49" dt="2023-03-15T00:09:59.4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E4E0DAF3-665B-4678-9BFE-D25F742053DD}"/>
    <pc:docChg chg="modSld">
      <pc:chgData name="Roberto Gallardo" userId="49a044883f185952" providerId="LiveId" clId="{E4E0DAF3-665B-4678-9BFE-D25F742053DD}" dt="2023-03-15T00:10:20.619" v="177" actId="1076"/>
      <pc:docMkLst>
        <pc:docMk/>
      </pc:docMkLst>
      <pc:sldChg chg="addSp modSp mod">
        <pc:chgData name="Roberto Gallardo" userId="49a044883f185952" providerId="LiveId" clId="{E4E0DAF3-665B-4678-9BFE-D25F742053DD}" dt="2023-03-15T00:05:00.864" v="6" actId="1076"/>
        <pc:sldMkLst>
          <pc:docMk/>
          <pc:sldMk cId="1418533539" sldId="271"/>
        </pc:sldMkLst>
        <pc:picChg chg="add mod">
          <ac:chgData name="Roberto Gallardo" userId="49a044883f185952" providerId="LiveId" clId="{E4E0DAF3-665B-4678-9BFE-D25F742053DD}" dt="2023-03-15T00:05:00.864" v="6" actId="1076"/>
          <ac:picMkLst>
            <pc:docMk/>
            <pc:sldMk cId="1418533539" sldId="271"/>
            <ac:picMk id="6" creationId="{D1D50C19-4C68-15BF-D260-4AD04FB17440}"/>
          </ac:picMkLst>
        </pc:picChg>
      </pc:sldChg>
      <pc:sldChg chg="addSp modSp mod">
        <pc:chgData name="Roberto Gallardo" userId="49a044883f185952" providerId="LiveId" clId="{E4E0DAF3-665B-4678-9BFE-D25F742053DD}" dt="2023-03-15T00:06:47.019" v="57" actId="1076"/>
        <pc:sldMkLst>
          <pc:docMk/>
          <pc:sldMk cId="2124848710" sldId="281"/>
        </pc:sldMkLst>
        <pc:picChg chg="add mod">
          <ac:chgData name="Roberto Gallardo" userId="49a044883f185952" providerId="LiveId" clId="{E4E0DAF3-665B-4678-9BFE-D25F742053DD}" dt="2023-03-15T00:06:47.019" v="57" actId="1076"/>
          <ac:picMkLst>
            <pc:docMk/>
            <pc:sldMk cId="2124848710" sldId="281"/>
            <ac:picMk id="6" creationId="{05803F95-40A1-ECC6-C4E0-4E0FF45BAA7C}"/>
          </ac:picMkLst>
        </pc:picChg>
      </pc:sldChg>
      <pc:sldChg chg="addSp modSp mod">
        <pc:chgData name="Roberto Gallardo" userId="49a044883f185952" providerId="LiveId" clId="{E4E0DAF3-665B-4678-9BFE-D25F742053DD}" dt="2023-03-15T00:07:01.884" v="67" actId="1076"/>
        <pc:sldMkLst>
          <pc:docMk/>
          <pc:sldMk cId="2028175529" sldId="282"/>
        </pc:sldMkLst>
        <pc:picChg chg="add mod">
          <ac:chgData name="Roberto Gallardo" userId="49a044883f185952" providerId="LiveId" clId="{E4E0DAF3-665B-4678-9BFE-D25F742053DD}" dt="2023-03-15T00:07:01.884" v="67" actId="1076"/>
          <ac:picMkLst>
            <pc:docMk/>
            <pc:sldMk cId="2028175529" sldId="282"/>
            <ac:picMk id="7" creationId="{D4C7C427-FC9B-92C4-71A8-708D03F79B48}"/>
          </ac:picMkLst>
        </pc:picChg>
      </pc:sldChg>
      <pc:sldChg chg="addSp modSp mod">
        <pc:chgData name="Roberto Gallardo" userId="49a044883f185952" providerId="LiveId" clId="{E4E0DAF3-665B-4678-9BFE-D25F742053DD}" dt="2023-03-15T00:07:26.803" v="76" actId="1076"/>
        <pc:sldMkLst>
          <pc:docMk/>
          <pc:sldMk cId="1326517747" sldId="283"/>
        </pc:sldMkLst>
        <pc:picChg chg="add mod">
          <ac:chgData name="Roberto Gallardo" userId="49a044883f185952" providerId="LiveId" clId="{E4E0DAF3-665B-4678-9BFE-D25F742053DD}" dt="2023-03-15T00:07:26.803" v="76" actId="1076"/>
          <ac:picMkLst>
            <pc:docMk/>
            <pc:sldMk cId="1326517747" sldId="283"/>
            <ac:picMk id="7" creationId="{C9955124-5BF8-FCA9-3EE8-6AF86A8CA776}"/>
          </ac:picMkLst>
        </pc:picChg>
      </pc:sldChg>
      <pc:sldChg chg="addSp modSp mod">
        <pc:chgData name="Roberto Gallardo" userId="49a044883f185952" providerId="LiveId" clId="{E4E0DAF3-665B-4678-9BFE-D25F742053DD}" dt="2023-03-15T00:07:47.240" v="86" actId="1076"/>
        <pc:sldMkLst>
          <pc:docMk/>
          <pc:sldMk cId="783739251" sldId="284"/>
        </pc:sldMkLst>
        <pc:picChg chg="add mod">
          <ac:chgData name="Roberto Gallardo" userId="49a044883f185952" providerId="LiveId" clId="{E4E0DAF3-665B-4678-9BFE-D25F742053DD}" dt="2023-03-15T00:07:47.240" v="86" actId="1076"/>
          <ac:picMkLst>
            <pc:docMk/>
            <pc:sldMk cId="783739251" sldId="284"/>
            <ac:picMk id="7" creationId="{48C44AA4-BE17-5DF8-A36D-FC351E1BEF7A}"/>
          </ac:picMkLst>
        </pc:picChg>
      </pc:sldChg>
      <pc:sldChg chg="addSp modSp mod">
        <pc:chgData name="Roberto Gallardo" userId="49a044883f185952" providerId="LiveId" clId="{E4E0DAF3-665B-4678-9BFE-D25F742053DD}" dt="2023-03-15T00:08:01.983" v="96" actId="1076"/>
        <pc:sldMkLst>
          <pc:docMk/>
          <pc:sldMk cId="1676122233" sldId="285"/>
        </pc:sldMkLst>
        <pc:picChg chg="add mod">
          <ac:chgData name="Roberto Gallardo" userId="49a044883f185952" providerId="LiveId" clId="{E4E0DAF3-665B-4678-9BFE-D25F742053DD}" dt="2023-03-15T00:08:01.983" v="96" actId="1076"/>
          <ac:picMkLst>
            <pc:docMk/>
            <pc:sldMk cId="1676122233" sldId="285"/>
            <ac:picMk id="7" creationId="{A0F2B195-3EB6-6631-EA8D-EFCB051793CB}"/>
          </ac:picMkLst>
        </pc:picChg>
      </pc:sldChg>
      <pc:sldChg chg="addSp modSp mod">
        <pc:chgData name="Roberto Gallardo" userId="49a044883f185952" providerId="LiveId" clId="{E4E0DAF3-665B-4678-9BFE-D25F742053DD}" dt="2023-03-15T00:08:16.007" v="105" actId="1076"/>
        <pc:sldMkLst>
          <pc:docMk/>
          <pc:sldMk cId="3100398757" sldId="286"/>
        </pc:sldMkLst>
        <pc:picChg chg="add mod">
          <ac:chgData name="Roberto Gallardo" userId="49a044883f185952" providerId="LiveId" clId="{E4E0DAF3-665B-4678-9BFE-D25F742053DD}" dt="2023-03-15T00:08:16.007" v="105" actId="1076"/>
          <ac:picMkLst>
            <pc:docMk/>
            <pc:sldMk cId="3100398757" sldId="286"/>
            <ac:picMk id="7" creationId="{C7394B7C-D2FA-1972-DBD6-14791AB693DD}"/>
          </ac:picMkLst>
        </pc:picChg>
      </pc:sldChg>
      <pc:sldChg chg="addSp modSp mod">
        <pc:chgData name="Roberto Gallardo" userId="49a044883f185952" providerId="LiveId" clId="{E4E0DAF3-665B-4678-9BFE-D25F742053DD}" dt="2023-03-15T00:08:32.502" v="115" actId="1076"/>
        <pc:sldMkLst>
          <pc:docMk/>
          <pc:sldMk cId="1546475425" sldId="287"/>
        </pc:sldMkLst>
        <pc:picChg chg="add mod">
          <ac:chgData name="Roberto Gallardo" userId="49a044883f185952" providerId="LiveId" clId="{E4E0DAF3-665B-4678-9BFE-D25F742053DD}" dt="2023-03-15T00:08:32.502" v="115" actId="1076"/>
          <ac:picMkLst>
            <pc:docMk/>
            <pc:sldMk cId="1546475425" sldId="287"/>
            <ac:picMk id="7" creationId="{F5CF82B8-9902-0E88-B45A-4F4A1436F334}"/>
          </ac:picMkLst>
        </pc:picChg>
      </pc:sldChg>
      <pc:sldChg chg="addSp modSp mod">
        <pc:chgData name="Roberto Gallardo" userId="49a044883f185952" providerId="LiveId" clId="{E4E0DAF3-665B-4678-9BFE-D25F742053DD}" dt="2023-03-15T00:09:04.455" v="136" actId="1076"/>
        <pc:sldMkLst>
          <pc:docMk/>
          <pc:sldMk cId="1380517306" sldId="288"/>
        </pc:sldMkLst>
        <pc:picChg chg="add mod">
          <ac:chgData name="Roberto Gallardo" userId="49a044883f185952" providerId="LiveId" clId="{E4E0DAF3-665B-4678-9BFE-D25F742053DD}" dt="2023-03-15T00:09:04.455" v="136" actId="1076"/>
          <ac:picMkLst>
            <pc:docMk/>
            <pc:sldMk cId="1380517306" sldId="288"/>
            <ac:picMk id="7" creationId="{E511249F-C782-F310-41DD-324B87DB1671}"/>
          </ac:picMkLst>
        </pc:picChg>
      </pc:sldChg>
      <pc:sldChg chg="addSp modSp mod">
        <pc:chgData name="Roberto Gallardo" userId="49a044883f185952" providerId="LiveId" clId="{E4E0DAF3-665B-4678-9BFE-D25F742053DD}" dt="2023-03-15T00:09:18.271" v="144" actId="1076"/>
        <pc:sldMkLst>
          <pc:docMk/>
          <pc:sldMk cId="1388671151" sldId="289"/>
        </pc:sldMkLst>
        <pc:picChg chg="add mod">
          <ac:chgData name="Roberto Gallardo" userId="49a044883f185952" providerId="LiveId" clId="{E4E0DAF3-665B-4678-9BFE-D25F742053DD}" dt="2023-03-15T00:09:18.271" v="144" actId="1076"/>
          <ac:picMkLst>
            <pc:docMk/>
            <pc:sldMk cId="1388671151" sldId="289"/>
            <ac:picMk id="7" creationId="{3D6447E1-33AA-5733-8B4E-0C6F5A5E2482}"/>
          </ac:picMkLst>
        </pc:picChg>
      </pc:sldChg>
      <pc:sldChg chg="addSp modSp mod">
        <pc:chgData name="Roberto Gallardo" userId="49a044883f185952" providerId="LiveId" clId="{E4E0DAF3-665B-4678-9BFE-D25F742053DD}" dt="2023-03-15T00:09:48.611" v="161" actId="1076"/>
        <pc:sldMkLst>
          <pc:docMk/>
          <pc:sldMk cId="2355376039" sldId="290"/>
        </pc:sldMkLst>
        <pc:picChg chg="add mod">
          <ac:chgData name="Roberto Gallardo" userId="49a044883f185952" providerId="LiveId" clId="{E4E0DAF3-665B-4678-9BFE-D25F742053DD}" dt="2023-03-15T00:09:48.611" v="161" actId="1076"/>
          <ac:picMkLst>
            <pc:docMk/>
            <pc:sldMk cId="2355376039" sldId="290"/>
            <ac:picMk id="8" creationId="{82755640-3200-0338-D30D-C8FD9E680AFE}"/>
          </ac:picMkLst>
        </pc:picChg>
      </pc:sldChg>
      <pc:sldChg chg="addSp modSp mod">
        <pc:chgData name="Roberto Gallardo" userId="49a044883f185952" providerId="LiveId" clId="{E4E0DAF3-665B-4678-9BFE-D25F742053DD}" dt="2023-03-15T00:10:20.619" v="177" actId="1076"/>
        <pc:sldMkLst>
          <pc:docMk/>
          <pc:sldMk cId="3757257295" sldId="291"/>
        </pc:sldMkLst>
        <pc:picChg chg="add mod">
          <ac:chgData name="Roberto Gallardo" userId="49a044883f185952" providerId="LiveId" clId="{E4E0DAF3-665B-4678-9BFE-D25F742053DD}" dt="2023-03-15T00:10:20.619" v="177" actId="1076"/>
          <ac:picMkLst>
            <pc:docMk/>
            <pc:sldMk cId="3757257295" sldId="291"/>
            <ac:picMk id="8" creationId="{E998688F-FDEB-0D25-5555-A1FACF6D3296}"/>
          </ac:picMkLst>
        </pc:picChg>
      </pc:sldChg>
      <pc:sldChg chg="addSp modSp mod">
        <pc:chgData name="Roberto Gallardo" userId="49a044883f185952" providerId="LiveId" clId="{E4E0DAF3-665B-4678-9BFE-D25F742053DD}" dt="2023-03-15T00:08:47.495" v="125" actId="1076"/>
        <pc:sldMkLst>
          <pc:docMk/>
          <pc:sldMk cId="1259856727" sldId="292"/>
        </pc:sldMkLst>
        <pc:picChg chg="add mod">
          <ac:chgData name="Roberto Gallardo" userId="49a044883f185952" providerId="LiveId" clId="{E4E0DAF3-665B-4678-9BFE-D25F742053DD}" dt="2023-03-15T00:08:47.495" v="125" actId="1076"/>
          <ac:picMkLst>
            <pc:docMk/>
            <pc:sldMk cId="1259856727" sldId="292"/>
            <ac:picMk id="7" creationId="{78D8DE9C-9095-6691-ECCE-3AFE3A2F29AA}"/>
          </ac:picMkLst>
        </pc:picChg>
      </pc:sldChg>
      <pc:sldChg chg="addSp modSp mod">
        <pc:chgData name="Roberto Gallardo" userId="49a044883f185952" providerId="LiveId" clId="{E4E0DAF3-665B-4678-9BFE-D25F742053DD}" dt="2023-03-15T00:06:34.619" v="50" actId="1076"/>
        <pc:sldMkLst>
          <pc:docMk/>
          <pc:sldMk cId="3324519687" sldId="293"/>
        </pc:sldMkLst>
        <pc:picChg chg="add mod">
          <ac:chgData name="Roberto Gallardo" userId="49a044883f185952" providerId="LiveId" clId="{E4E0DAF3-665B-4678-9BFE-D25F742053DD}" dt="2023-03-15T00:06:34.619" v="50" actId="1076"/>
          <ac:picMkLst>
            <pc:docMk/>
            <pc:sldMk cId="3324519687" sldId="293"/>
            <ac:picMk id="7" creationId="{5441740F-98D3-8889-9037-D0654500B246}"/>
          </ac:picMkLst>
        </pc:picChg>
      </pc:sldChg>
      <pc:sldChg chg="addSp modSp mod">
        <pc:chgData name="Roberto Gallardo" userId="49a044883f185952" providerId="LiveId" clId="{E4E0DAF3-665B-4678-9BFE-D25F742053DD}" dt="2023-03-15T00:06:02.199" v="33" actId="1076"/>
        <pc:sldMkLst>
          <pc:docMk/>
          <pc:sldMk cId="3256182630" sldId="295"/>
        </pc:sldMkLst>
        <pc:picChg chg="add mod">
          <ac:chgData name="Roberto Gallardo" userId="49a044883f185952" providerId="LiveId" clId="{E4E0DAF3-665B-4678-9BFE-D25F742053DD}" dt="2023-03-15T00:06:02.199" v="33" actId="1076"/>
          <ac:picMkLst>
            <pc:docMk/>
            <pc:sldMk cId="3256182630" sldId="295"/>
            <ac:picMk id="7" creationId="{23435E5F-22EB-D0FE-C086-9D2AD9A1CB0A}"/>
          </ac:picMkLst>
        </pc:picChg>
      </pc:sldChg>
      <pc:sldChg chg="addSp modSp mod">
        <pc:chgData name="Roberto Gallardo" userId="49a044883f185952" providerId="LiveId" clId="{E4E0DAF3-665B-4678-9BFE-D25F742053DD}" dt="2023-03-15T00:06:16.730" v="41" actId="1076"/>
        <pc:sldMkLst>
          <pc:docMk/>
          <pc:sldMk cId="4057156843" sldId="296"/>
        </pc:sldMkLst>
        <pc:picChg chg="add mod">
          <ac:chgData name="Roberto Gallardo" userId="49a044883f185952" providerId="LiveId" clId="{E4E0DAF3-665B-4678-9BFE-D25F742053DD}" dt="2023-03-15T00:06:16.730" v="41" actId="1076"/>
          <ac:picMkLst>
            <pc:docMk/>
            <pc:sldMk cId="4057156843" sldId="296"/>
            <ac:picMk id="7" creationId="{B977434C-ECAB-595B-4533-A878F8FFF50D}"/>
          </ac:picMkLst>
        </pc:picChg>
      </pc:sldChg>
      <pc:sldChg chg="addSp modSp mod">
        <pc:chgData name="Roberto Gallardo" userId="49a044883f185952" providerId="LiveId" clId="{E4E0DAF3-665B-4678-9BFE-D25F742053DD}" dt="2023-03-15T00:05:43.743" v="25" actId="1036"/>
        <pc:sldMkLst>
          <pc:docMk/>
          <pc:sldMk cId="2080110827" sldId="297"/>
        </pc:sldMkLst>
        <pc:picChg chg="add mod">
          <ac:chgData name="Roberto Gallardo" userId="49a044883f185952" providerId="LiveId" clId="{E4E0DAF3-665B-4678-9BFE-D25F742053DD}" dt="2023-03-15T00:05:43.743" v="25" actId="1036"/>
          <ac:picMkLst>
            <pc:docMk/>
            <pc:sldMk cId="2080110827" sldId="297"/>
            <ac:picMk id="6" creationId="{95A70B07-02F9-DBA3-B8C5-97D82CB42766}"/>
          </ac:picMkLst>
        </pc:picChg>
      </pc:sldChg>
      <pc:sldChg chg="addSp modSp mod">
        <pc:chgData name="Roberto Gallardo" userId="49a044883f185952" providerId="LiveId" clId="{E4E0DAF3-665B-4678-9BFE-D25F742053DD}" dt="2023-03-15T00:05:22.608" v="15" actId="1076"/>
        <pc:sldMkLst>
          <pc:docMk/>
          <pc:sldMk cId="1532666867" sldId="298"/>
        </pc:sldMkLst>
        <pc:picChg chg="add mod">
          <ac:chgData name="Roberto Gallardo" userId="49a044883f185952" providerId="LiveId" clId="{E4E0DAF3-665B-4678-9BFE-D25F742053DD}" dt="2023-03-15T00:05:22.608" v="15" actId="1076"/>
          <ac:picMkLst>
            <pc:docMk/>
            <pc:sldMk cId="1532666867" sldId="298"/>
            <ac:picMk id="6" creationId="{076B08AE-914B-4E2F-BB64-7309252CFB9E}"/>
          </ac:picMkLst>
        </pc:picChg>
      </pc:sldChg>
      <pc:sldChg chg="addSp modSp mod">
        <pc:chgData name="Roberto Gallardo" userId="49a044883f185952" providerId="LiveId" clId="{E4E0DAF3-665B-4678-9BFE-D25F742053DD}" dt="2023-03-15T00:09:32.643" v="152" actId="1076"/>
        <pc:sldMkLst>
          <pc:docMk/>
          <pc:sldMk cId="1951376777" sldId="299"/>
        </pc:sldMkLst>
        <pc:picChg chg="add mod">
          <ac:chgData name="Roberto Gallardo" userId="49a044883f185952" providerId="LiveId" clId="{E4E0DAF3-665B-4678-9BFE-D25F742053DD}" dt="2023-03-15T00:09:32.643" v="152" actId="1076"/>
          <ac:picMkLst>
            <pc:docMk/>
            <pc:sldMk cId="1951376777" sldId="299"/>
            <ac:picMk id="7" creationId="{28184AB3-977D-A3E5-C3EC-662097C71A1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Stokes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FC24479-4E95-DAF8-682B-89B725712DF7}"/>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06E9389A-5BA7-274E-9190-CAB43B330B1E}"/>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D1D50C19-4C68-15BF-D260-4AD04FB174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6926" y="1028700"/>
            <a:ext cx="7598147" cy="5373084"/>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76B08AE-914B-4E2F-BB64-7309252CF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5A70B07-02F9-DBA3-B8C5-97D82CB427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4103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DC49EDA-D2D9-D32A-7CE3-C640B2053503}"/>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3435E5F-22EB-D0FE-C086-9D2AD9A1CB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8611BAB-ECE6-9BC0-CBFD-F64EED3C241E}"/>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B977434C-ECAB-595B-4533-A878F8FFF5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51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A07ADF8-3C68-CBF3-6467-5F02138B962A}"/>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5441740F-98D3-8889-9037-D0654500B2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0790ECC-7308-D74D-A705-71E35B4085F9}"/>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05803F95-40A1-ECC6-C4E0-4E0FF45BAA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1646" y="1427529"/>
            <a:ext cx="6377954" cy="451021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57B5440-2DF7-095B-4A9E-616CF78910D9}"/>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D4C7C427-FC9B-92C4-71A8-708D03F79B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25CB737-A2F2-1A66-122D-328B78561881}"/>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9955124-5BF8-FCA9-3EE8-6AF86A8CA7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2059E00-1597-0327-79A8-F62D1AE693B9}"/>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48C44AA4-BE17-5DF8-A36D-FC351E1BEF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36B4EDC-C187-13CA-7333-98EAE7DE563B}"/>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A0F2B195-3EB6-6631-EA8D-EFCB05179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41"/>
            <a:ext cx="6394148" cy="452166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409F581-443B-BB66-03CC-BAED701353DC}"/>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C7394B7C-D2FA-1972-DBD6-14791AB69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C394C52-A11C-D1A3-782B-C7093D075BDE}"/>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F5CF82B8-9902-0E88-B45A-4F4A1436F3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87F3C12-A0B1-DB5A-1C62-4C3460B2325D}"/>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78D8DE9C-9095-6691-ECCE-3AFE3A2F29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6" cy="453213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5497C1F-785F-8117-BCF5-ACF035963B45}"/>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E511249F-C782-F310-41DD-324B87DB16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E4C04AF-7099-1ED6-A338-D981A1072132}"/>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D6447E1-33AA-5733-8B4E-0C6F5A5E24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5EA118A3-CD50-78B2-B7E8-0E3167F39394}"/>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28184AB3-977D-A3E5-C3EC-662097C71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291FA593-1B95-DB79-DF73-9E7AD2EF5073}"/>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82755640-3200-0338-D30D-C8FD9E680A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B109143-4438-DC1B-4F86-CBC2452137C3}"/>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8A02AE34-59A7-9EA9-7C4D-8B7CDE4DE1B0}"/>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E998688F-FDEB-0D25-5555-A1FACF6D32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DABE1C4-05DD-DAB1-22D8-AE103A9B9204}"/>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B675D1A-D935-2E86-E320-6BE0DC605A1D}"/>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C4B5F20-E40D-DEFF-7021-D77F52633B41}"/>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546144"/>
            <a:ext cx="1198148" cy="2293982"/>
            <a:chOff x="10485745" y="2596329"/>
            <a:chExt cx="1198148" cy="2293982"/>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4946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9632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96329"/>
              <a:ext cx="0" cy="7531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2019"/>
              <a:ext cx="0" cy="6482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E9D1CEA-8FFA-343A-02BF-6FDDA7642711}"/>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E29FB7A-1C39-27B3-2339-9D430A724990}"/>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34A137C-CBD7-17A0-D3C7-1EDE41377689}"/>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8EAE398-75E3-CD6B-9602-8E79EFA503DB}"/>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8F0500C-FDE6-7BB9-D271-ECE28DF9409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24F7DA6-7FFF-6357-DCED-7C7D4FDA5094}"/>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0C013BF-9C40-108E-F03F-ADD52A773D9D}"/>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09AB4B2-7313-CA3A-8D1C-3A20EC01EAFE}"/>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3</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5</cp:revision>
  <dcterms:created xsi:type="dcterms:W3CDTF">2022-07-04T13:32:28Z</dcterms:created>
  <dcterms:modified xsi:type="dcterms:W3CDTF">2023-03-15T00:10:28Z</dcterms:modified>
</cp:coreProperties>
</file>